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977160-DC72-4226-B387-6E4E01311913}" v="49" dt="2023-03-11T19:47:59.1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32" y="750"/>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05977160-DC72-4226-B387-6E4E01311913}"/>
    <pc:docChg chg="modSld">
      <pc:chgData name="Roberto Gallardo" userId="49a044883f185952" providerId="LiveId" clId="{05977160-DC72-4226-B387-6E4E01311913}" dt="2023-03-11T19:48:12.880" v="336" actId="1036"/>
      <pc:docMkLst>
        <pc:docMk/>
      </pc:docMkLst>
      <pc:sldChg chg="addSp modSp mod">
        <pc:chgData name="Roberto Gallardo" userId="49a044883f185952" providerId="LiveId" clId="{05977160-DC72-4226-B387-6E4E01311913}" dt="2023-03-11T19:42:17.054" v="45" actId="1076"/>
        <pc:sldMkLst>
          <pc:docMk/>
          <pc:sldMk cId="1418533539" sldId="271"/>
        </pc:sldMkLst>
        <pc:picChg chg="add mod">
          <ac:chgData name="Roberto Gallardo" userId="49a044883f185952" providerId="LiveId" clId="{05977160-DC72-4226-B387-6E4E01311913}" dt="2023-03-11T19:42:17.054" v="45" actId="1076"/>
          <ac:picMkLst>
            <pc:docMk/>
            <pc:sldMk cId="1418533539" sldId="271"/>
            <ac:picMk id="6" creationId="{12803FEF-268E-B9E1-8A0C-FEF2C3ADCE8E}"/>
          </ac:picMkLst>
        </pc:picChg>
      </pc:sldChg>
      <pc:sldChg chg="addSp modSp mod">
        <pc:chgData name="Roberto Gallardo" userId="49a044883f185952" providerId="LiveId" clId="{05977160-DC72-4226-B387-6E4E01311913}" dt="2023-03-11T19:44:22.006" v="99" actId="1076"/>
        <pc:sldMkLst>
          <pc:docMk/>
          <pc:sldMk cId="2124848710" sldId="281"/>
        </pc:sldMkLst>
        <pc:picChg chg="add mod">
          <ac:chgData name="Roberto Gallardo" userId="49a044883f185952" providerId="LiveId" clId="{05977160-DC72-4226-B387-6E4E01311913}" dt="2023-03-11T19:44:22.006" v="99" actId="1076"/>
          <ac:picMkLst>
            <pc:docMk/>
            <pc:sldMk cId="2124848710" sldId="281"/>
            <ac:picMk id="6" creationId="{82ADCD02-0AF3-9B83-931B-BDB6BC229B7C}"/>
          </ac:picMkLst>
        </pc:picChg>
      </pc:sldChg>
      <pc:sldChg chg="addSp modSp mod">
        <pc:chgData name="Roberto Gallardo" userId="49a044883f185952" providerId="LiveId" clId="{05977160-DC72-4226-B387-6E4E01311913}" dt="2023-03-11T19:44:45.125" v="109" actId="1076"/>
        <pc:sldMkLst>
          <pc:docMk/>
          <pc:sldMk cId="2028175529" sldId="282"/>
        </pc:sldMkLst>
        <pc:picChg chg="add mod">
          <ac:chgData name="Roberto Gallardo" userId="49a044883f185952" providerId="LiveId" clId="{05977160-DC72-4226-B387-6E4E01311913}" dt="2023-03-11T19:44:45.125" v="109" actId="1076"/>
          <ac:picMkLst>
            <pc:docMk/>
            <pc:sldMk cId="2028175529" sldId="282"/>
            <ac:picMk id="7" creationId="{C2E20CD4-6EA0-55C7-FA70-DA61D6BD0E26}"/>
          </ac:picMkLst>
        </pc:picChg>
      </pc:sldChg>
      <pc:sldChg chg="addSp modSp mod">
        <pc:chgData name="Roberto Gallardo" userId="49a044883f185952" providerId="LiveId" clId="{05977160-DC72-4226-B387-6E4E01311913}" dt="2023-03-11T19:45:04.782" v="120" actId="1076"/>
        <pc:sldMkLst>
          <pc:docMk/>
          <pc:sldMk cId="1326517747" sldId="283"/>
        </pc:sldMkLst>
        <pc:picChg chg="add mod">
          <ac:chgData name="Roberto Gallardo" userId="49a044883f185952" providerId="LiveId" clId="{05977160-DC72-4226-B387-6E4E01311913}" dt="2023-03-11T19:45:04.782" v="120" actId="1076"/>
          <ac:picMkLst>
            <pc:docMk/>
            <pc:sldMk cId="1326517747" sldId="283"/>
            <ac:picMk id="7" creationId="{234E4BD7-B67F-27A4-0322-53AB1E30FE55}"/>
          </ac:picMkLst>
        </pc:picChg>
      </pc:sldChg>
      <pc:sldChg chg="addSp modSp mod">
        <pc:chgData name="Roberto Gallardo" userId="49a044883f185952" providerId="LiveId" clId="{05977160-DC72-4226-B387-6E4E01311913}" dt="2023-03-11T19:45:21.638" v="131" actId="1076"/>
        <pc:sldMkLst>
          <pc:docMk/>
          <pc:sldMk cId="783739251" sldId="284"/>
        </pc:sldMkLst>
        <pc:picChg chg="add mod">
          <ac:chgData name="Roberto Gallardo" userId="49a044883f185952" providerId="LiveId" clId="{05977160-DC72-4226-B387-6E4E01311913}" dt="2023-03-11T19:45:21.638" v="131" actId="1076"/>
          <ac:picMkLst>
            <pc:docMk/>
            <pc:sldMk cId="783739251" sldId="284"/>
            <ac:picMk id="7" creationId="{4FE9CA30-6D4F-2499-B750-C43631B2F206}"/>
          </ac:picMkLst>
        </pc:picChg>
      </pc:sldChg>
      <pc:sldChg chg="addSp modSp mod">
        <pc:chgData name="Roberto Gallardo" userId="49a044883f185952" providerId="LiveId" clId="{05977160-DC72-4226-B387-6E4E01311913}" dt="2023-03-11T19:45:36.415" v="140" actId="1076"/>
        <pc:sldMkLst>
          <pc:docMk/>
          <pc:sldMk cId="1676122233" sldId="285"/>
        </pc:sldMkLst>
        <pc:picChg chg="add mod">
          <ac:chgData name="Roberto Gallardo" userId="49a044883f185952" providerId="LiveId" clId="{05977160-DC72-4226-B387-6E4E01311913}" dt="2023-03-11T19:45:36.415" v="140" actId="1076"/>
          <ac:picMkLst>
            <pc:docMk/>
            <pc:sldMk cId="1676122233" sldId="285"/>
            <ac:picMk id="7" creationId="{996742CD-BF0A-5740-4173-B160B5C61C66}"/>
          </ac:picMkLst>
        </pc:picChg>
      </pc:sldChg>
      <pc:sldChg chg="addSp modSp mod">
        <pc:chgData name="Roberto Gallardo" userId="49a044883f185952" providerId="LiveId" clId="{05977160-DC72-4226-B387-6E4E01311913}" dt="2023-03-11T19:45:54.570" v="151" actId="1076"/>
        <pc:sldMkLst>
          <pc:docMk/>
          <pc:sldMk cId="3100398757" sldId="286"/>
        </pc:sldMkLst>
        <pc:picChg chg="add mod">
          <ac:chgData name="Roberto Gallardo" userId="49a044883f185952" providerId="LiveId" clId="{05977160-DC72-4226-B387-6E4E01311913}" dt="2023-03-11T19:45:54.570" v="151" actId="1076"/>
          <ac:picMkLst>
            <pc:docMk/>
            <pc:sldMk cId="3100398757" sldId="286"/>
            <ac:picMk id="7" creationId="{A5394083-06C9-4F83-F657-13CDB0824A95}"/>
          </ac:picMkLst>
        </pc:picChg>
      </pc:sldChg>
      <pc:sldChg chg="addSp modSp mod">
        <pc:chgData name="Roberto Gallardo" userId="49a044883f185952" providerId="LiveId" clId="{05977160-DC72-4226-B387-6E4E01311913}" dt="2023-03-11T19:46:14.525" v="174" actId="1035"/>
        <pc:sldMkLst>
          <pc:docMk/>
          <pc:sldMk cId="1546475425" sldId="287"/>
        </pc:sldMkLst>
        <pc:picChg chg="add mod">
          <ac:chgData name="Roberto Gallardo" userId="49a044883f185952" providerId="LiveId" clId="{05977160-DC72-4226-B387-6E4E01311913}" dt="2023-03-11T19:46:14.525" v="174" actId="1035"/>
          <ac:picMkLst>
            <pc:docMk/>
            <pc:sldMk cId="1546475425" sldId="287"/>
            <ac:picMk id="7" creationId="{B56923C0-8701-E327-5DC3-6DDA289CD6DA}"/>
          </ac:picMkLst>
        </pc:picChg>
      </pc:sldChg>
      <pc:sldChg chg="addSp modSp mod">
        <pc:chgData name="Roberto Gallardo" userId="49a044883f185952" providerId="LiveId" clId="{05977160-DC72-4226-B387-6E4E01311913}" dt="2023-03-11T19:46:52.868" v="216" actId="1036"/>
        <pc:sldMkLst>
          <pc:docMk/>
          <pc:sldMk cId="1380517306" sldId="288"/>
        </pc:sldMkLst>
        <pc:picChg chg="add mod">
          <ac:chgData name="Roberto Gallardo" userId="49a044883f185952" providerId="LiveId" clId="{05977160-DC72-4226-B387-6E4E01311913}" dt="2023-03-11T19:46:52.868" v="216" actId="1036"/>
          <ac:picMkLst>
            <pc:docMk/>
            <pc:sldMk cId="1380517306" sldId="288"/>
            <ac:picMk id="7" creationId="{27499B6A-F4CF-9C42-A728-34A957736EB6}"/>
          </ac:picMkLst>
        </pc:picChg>
      </pc:sldChg>
      <pc:sldChg chg="addSp modSp mod">
        <pc:chgData name="Roberto Gallardo" userId="49a044883f185952" providerId="LiveId" clId="{05977160-DC72-4226-B387-6E4E01311913}" dt="2023-03-11T19:47:12.509" v="247" actId="1035"/>
        <pc:sldMkLst>
          <pc:docMk/>
          <pc:sldMk cId="1388671151" sldId="289"/>
        </pc:sldMkLst>
        <pc:picChg chg="add mod">
          <ac:chgData name="Roberto Gallardo" userId="49a044883f185952" providerId="LiveId" clId="{05977160-DC72-4226-B387-6E4E01311913}" dt="2023-03-11T19:47:12.509" v="247" actId="1035"/>
          <ac:picMkLst>
            <pc:docMk/>
            <pc:sldMk cId="1388671151" sldId="289"/>
            <ac:picMk id="7" creationId="{171E2B66-D902-5B58-9C92-D1261180D671}"/>
          </ac:picMkLst>
        </pc:picChg>
      </pc:sldChg>
      <pc:sldChg chg="addSp modSp mod">
        <pc:chgData name="Roberto Gallardo" userId="49a044883f185952" providerId="LiveId" clId="{05977160-DC72-4226-B387-6E4E01311913}" dt="2023-03-11T19:47:51.713" v="303" actId="1035"/>
        <pc:sldMkLst>
          <pc:docMk/>
          <pc:sldMk cId="2355376039" sldId="290"/>
        </pc:sldMkLst>
        <pc:picChg chg="add mod">
          <ac:chgData name="Roberto Gallardo" userId="49a044883f185952" providerId="LiveId" clId="{05977160-DC72-4226-B387-6E4E01311913}" dt="2023-03-11T19:47:51.713" v="303" actId="1035"/>
          <ac:picMkLst>
            <pc:docMk/>
            <pc:sldMk cId="2355376039" sldId="290"/>
            <ac:picMk id="8" creationId="{0D3C9006-1C39-F95E-7E32-8AB4BBFE9741}"/>
          </ac:picMkLst>
        </pc:picChg>
      </pc:sldChg>
      <pc:sldChg chg="addSp modSp mod">
        <pc:chgData name="Roberto Gallardo" userId="49a044883f185952" providerId="LiveId" clId="{05977160-DC72-4226-B387-6E4E01311913}" dt="2023-03-11T19:48:12.880" v="336" actId="1036"/>
        <pc:sldMkLst>
          <pc:docMk/>
          <pc:sldMk cId="3757257295" sldId="291"/>
        </pc:sldMkLst>
        <pc:picChg chg="add mod">
          <ac:chgData name="Roberto Gallardo" userId="49a044883f185952" providerId="LiveId" clId="{05977160-DC72-4226-B387-6E4E01311913}" dt="2023-03-11T19:48:12.880" v="336" actId="1036"/>
          <ac:picMkLst>
            <pc:docMk/>
            <pc:sldMk cId="3757257295" sldId="291"/>
            <ac:picMk id="8" creationId="{CB224DC3-EFB8-64C4-BA3B-8FE48967D848}"/>
          </ac:picMkLst>
        </pc:picChg>
      </pc:sldChg>
      <pc:sldChg chg="addSp modSp mod">
        <pc:chgData name="Roberto Gallardo" userId="49a044883f185952" providerId="LiveId" clId="{05977160-DC72-4226-B387-6E4E01311913}" dt="2023-03-11T19:46:34.460" v="200" actId="1036"/>
        <pc:sldMkLst>
          <pc:docMk/>
          <pc:sldMk cId="1259856727" sldId="292"/>
        </pc:sldMkLst>
        <pc:picChg chg="add mod">
          <ac:chgData name="Roberto Gallardo" userId="49a044883f185952" providerId="LiveId" clId="{05977160-DC72-4226-B387-6E4E01311913}" dt="2023-03-11T19:46:34.460" v="200" actId="1036"/>
          <ac:picMkLst>
            <pc:docMk/>
            <pc:sldMk cId="1259856727" sldId="292"/>
            <ac:picMk id="7" creationId="{D6CD1F18-0F65-CE51-D3B6-6CAF4CA00BBA}"/>
          </ac:picMkLst>
        </pc:picChg>
      </pc:sldChg>
      <pc:sldChg chg="addSp modSp mod">
        <pc:chgData name="Roberto Gallardo" userId="49a044883f185952" providerId="LiveId" clId="{05977160-DC72-4226-B387-6E4E01311913}" dt="2023-03-11T19:44:07.026" v="90" actId="1076"/>
        <pc:sldMkLst>
          <pc:docMk/>
          <pc:sldMk cId="3324519687" sldId="293"/>
        </pc:sldMkLst>
        <pc:picChg chg="add mod">
          <ac:chgData name="Roberto Gallardo" userId="49a044883f185952" providerId="LiveId" clId="{05977160-DC72-4226-B387-6E4E01311913}" dt="2023-03-11T19:44:07.026" v="90" actId="1076"/>
          <ac:picMkLst>
            <pc:docMk/>
            <pc:sldMk cId="3324519687" sldId="293"/>
            <ac:picMk id="7" creationId="{077BACF2-6EC3-A51D-D42D-CE4465B569EF}"/>
          </ac:picMkLst>
        </pc:picChg>
      </pc:sldChg>
      <pc:sldChg chg="addSp modSp mod">
        <pc:chgData name="Roberto Gallardo" userId="49a044883f185952" providerId="LiveId" clId="{05977160-DC72-4226-B387-6E4E01311913}" dt="2023-03-11T19:43:25.195" v="69" actId="1076"/>
        <pc:sldMkLst>
          <pc:docMk/>
          <pc:sldMk cId="3256182630" sldId="295"/>
        </pc:sldMkLst>
        <pc:picChg chg="add mod">
          <ac:chgData name="Roberto Gallardo" userId="49a044883f185952" providerId="LiveId" clId="{05977160-DC72-4226-B387-6E4E01311913}" dt="2023-03-11T19:43:25.195" v="69" actId="1076"/>
          <ac:picMkLst>
            <pc:docMk/>
            <pc:sldMk cId="3256182630" sldId="295"/>
            <ac:picMk id="7" creationId="{1194180A-22F4-8DF2-6E48-0518B5E6E0CA}"/>
          </ac:picMkLst>
        </pc:picChg>
      </pc:sldChg>
      <pc:sldChg chg="addSp modSp mod">
        <pc:chgData name="Roberto Gallardo" userId="49a044883f185952" providerId="LiveId" clId="{05977160-DC72-4226-B387-6E4E01311913}" dt="2023-03-11T19:43:45.946" v="79" actId="1076"/>
        <pc:sldMkLst>
          <pc:docMk/>
          <pc:sldMk cId="4057156843" sldId="296"/>
        </pc:sldMkLst>
        <pc:picChg chg="add mod">
          <ac:chgData name="Roberto Gallardo" userId="49a044883f185952" providerId="LiveId" clId="{05977160-DC72-4226-B387-6E4E01311913}" dt="2023-03-11T19:43:45.946" v="79" actId="1076"/>
          <ac:picMkLst>
            <pc:docMk/>
            <pc:sldMk cId="4057156843" sldId="296"/>
            <ac:picMk id="7" creationId="{8875F052-FDE0-38BF-F59E-E5B850B0598E}"/>
          </ac:picMkLst>
        </pc:picChg>
      </pc:sldChg>
      <pc:sldChg chg="addSp modSp mod">
        <pc:chgData name="Roberto Gallardo" userId="49a044883f185952" providerId="LiveId" clId="{05977160-DC72-4226-B387-6E4E01311913}" dt="2023-03-11T19:43:00.802" v="61" actId="1076"/>
        <pc:sldMkLst>
          <pc:docMk/>
          <pc:sldMk cId="2080110827" sldId="297"/>
        </pc:sldMkLst>
        <pc:picChg chg="add mod">
          <ac:chgData name="Roberto Gallardo" userId="49a044883f185952" providerId="LiveId" clId="{05977160-DC72-4226-B387-6E4E01311913}" dt="2023-03-11T19:43:00.802" v="61" actId="1076"/>
          <ac:picMkLst>
            <pc:docMk/>
            <pc:sldMk cId="2080110827" sldId="297"/>
            <ac:picMk id="6" creationId="{90A51B9B-DE01-8712-C440-1097138968D5}"/>
          </ac:picMkLst>
        </pc:picChg>
      </pc:sldChg>
      <pc:sldChg chg="addSp modSp mod">
        <pc:chgData name="Roberto Gallardo" userId="49a044883f185952" providerId="LiveId" clId="{05977160-DC72-4226-B387-6E4E01311913}" dt="2023-03-11T19:42:41.231" v="54" actId="1076"/>
        <pc:sldMkLst>
          <pc:docMk/>
          <pc:sldMk cId="1532666867" sldId="298"/>
        </pc:sldMkLst>
        <pc:picChg chg="add mod">
          <ac:chgData name="Roberto Gallardo" userId="49a044883f185952" providerId="LiveId" clId="{05977160-DC72-4226-B387-6E4E01311913}" dt="2023-03-11T19:42:41.231" v="54" actId="1076"/>
          <ac:picMkLst>
            <pc:docMk/>
            <pc:sldMk cId="1532666867" sldId="298"/>
            <ac:picMk id="6" creationId="{9A939F78-52D0-15E9-AA25-0458CA9A7FB2}"/>
          </ac:picMkLst>
        </pc:picChg>
      </pc:sldChg>
      <pc:sldChg chg="addSp modSp mod">
        <pc:chgData name="Roberto Gallardo" userId="49a044883f185952" providerId="LiveId" clId="{05977160-DC72-4226-B387-6E4E01311913}" dt="2023-03-11T19:47:33.102" v="272" actId="1035"/>
        <pc:sldMkLst>
          <pc:docMk/>
          <pc:sldMk cId="1951376777" sldId="299"/>
        </pc:sldMkLst>
        <pc:picChg chg="add mod">
          <ac:chgData name="Roberto Gallardo" userId="49a044883f185952" providerId="LiveId" clId="{05977160-DC72-4226-B387-6E4E01311913}" dt="2023-03-11T19:47:33.102" v="272" actId="1035"/>
          <ac:picMkLst>
            <pc:docMk/>
            <pc:sldMk cId="1951376777" sldId="299"/>
            <ac:picMk id="7" creationId="{DA4466E1-F314-756B-994E-1B8589BD2F48}"/>
          </ac:picMkLst>
        </pc:picChg>
      </pc:sldChg>
      <pc:sldChg chg="modSp mod">
        <pc:chgData name="Roberto Gallardo" userId="49a044883f185952" providerId="LiveId" clId="{05977160-DC72-4226-B387-6E4E01311913}" dt="2023-03-11T14:53:10.674" v="36" actId="14100"/>
        <pc:sldMkLst>
          <pc:docMk/>
          <pc:sldMk cId="2366022307" sldId="306"/>
        </pc:sldMkLst>
        <pc:spChg chg="mod">
          <ac:chgData name="Roberto Gallardo" userId="49a044883f185952" providerId="LiveId" clId="{05977160-DC72-4226-B387-6E4E01311913}" dt="2023-03-11T14:53:01.447" v="34" actId="1036"/>
          <ac:spMkLst>
            <pc:docMk/>
            <pc:sldMk cId="2366022307" sldId="306"/>
            <ac:spMk id="11" creationId="{09F5AE19-B4E3-7788-F25F-CDA80D596DAF}"/>
          </ac:spMkLst>
        </pc:spChg>
        <pc:cxnChg chg="mod">
          <ac:chgData name="Roberto Gallardo" userId="49a044883f185952" providerId="LiveId" clId="{05977160-DC72-4226-B387-6E4E01311913}" dt="2023-03-11T14:52:49.608" v="23" actId="1036"/>
          <ac:cxnSpMkLst>
            <pc:docMk/>
            <pc:sldMk cId="2366022307" sldId="306"/>
            <ac:cxnSpMk id="26" creationId="{4FA35577-4238-5D8D-F083-D76255B4ABA5}"/>
          </ac:cxnSpMkLst>
        </pc:cxnChg>
        <pc:cxnChg chg="mod">
          <ac:chgData name="Roberto Gallardo" userId="49a044883f185952" providerId="LiveId" clId="{05977160-DC72-4226-B387-6E4E01311913}" dt="2023-03-11T14:52:35.584" v="18" actId="1035"/>
          <ac:cxnSpMkLst>
            <pc:docMk/>
            <pc:sldMk cId="2366022307" sldId="306"/>
            <ac:cxnSpMk id="27" creationId="{F0CF8142-8895-D0A8-A662-E40568742508}"/>
          </ac:cxnSpMkLst>
        </pc:cxnChg>
        <pc:cxnChg chg="mod">
          <ac:chgData name="Roberto Gallardo" userId="49a044883f185952" providerId="LiveId" clId="{05977160-DC72-4226-B387-6E4E01311913}" dt="2023-03-11T14:53:10.674" v="36" actId="14100"/>
          <ac:cxnSpMkLst>
            <pc:docMk/>
            <pc:sldMk cId="2366022307" sldId="306"/>
            <ac:cxnSpMk id="28" creationId="{15C28C80-F0E1-159F-F103-CEA53436F6F9}"/>
          </ac:cxnSpMkLst>
        </pc:cxnChg>
        <pc:cxnChg chg="mod">
          <ac:chgData name="Roberto Gallardo" userId="49a044883f185952" providerId="LiveId" clId="{05977160-DC72-4226-B387-6E4E01311913}" dt="2023-03-11T14:53:06.786" v="35" actId="14100"/>
          <ac:cxnSpMkLst>
            <pc:docMk/>
            <pc:sldMk cId="2366022307" sldId="306"/>
            <ac:cxnSpMk id="29" creationId="{783CFD35-8D28-EF95-B783-8C1E52BEC855}"/>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Harnett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1BC9FB9-3085-59D0-CAA5-B74052E67C28}"/>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CEEC6A2E-D34E-0DF0-6D1A-55113AE89533}"/>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 surface chart&#10;&#10;Description automatically generated">
            <a:extLst>
              <a:ext uri="{FF2B5EF4-FFF2-40B4-BE49-F238E27FC236}">
                <a16:creationId xmlns:a16="http://schemas.microsoft.com/office/drawing/2014/main" id="{12803FEF-268E-B9E1-8A0C-FEF2C3ADC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5"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Chart, diagram, schematic, surface chart&#10;&#10;Description automatically generated">
            <a:extLst>
              <a:ext uri="{FF2B5EF4-FFF2-40B4-BE49-F238E27FC236}">
                <a16:creationId xmlns:a16="http://schemas.microsoft.com/office/drawing/2014/main" id="{9A939F78-52D0-15E9-AA25-0458CA9A7F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1" y="1028700"/>
            <a:ext cx="7596757"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schematic&#10;&#10;Description automatically generated">
            <a:extLst>
              <a:ext uri="{FF2B5EF4-FFF2-40B4-BE49-F238E27FC236}">
                <a16:creationId xmlns:a16="http://schemas.microsoft.com/office/drawing/2014/main" id="{90A51B9B-DE01-8712-C440-1097138968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2B1EE51-3ECD-0DEF-FC9A-5CB75FB857F4}"/>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 schematic&#10;&#10;Description automatically generated">
            <a:extLst>
              <a:ext uri="{FF2B5EF4-FFF2-40B4-BE49-F238E27FC236}">
                <a16:creationId xmlns:a16="http://schemas.microsoft.com/office/drawing/2014/main" id="{1194180A-22F4-8DF2-6E48-0518B5E6E0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9"/>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4348E39-4D85-6202-C542-BECAA86B2710}"/>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 schematic&#10;&#10;Description automatically generated">
            <a:extLst>
              <a:ext uri="{FF2B5EF4-FFF2-40B4-BE49-F238E27FC236}">
                <a16:creationId xmlns:a16="http://schemas.microsoft.com/office/drawing/2014/main" id="{8875F052-FDE0-38BF-F59E-E5B850B059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3464"/>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FAB9AB8B-D417-8FBF-33E0-C2460A71D3B6}"/>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 map&#10;&#10;Description automatically generated with medium confidence">
            <a:extLst>
              <a:ext uri="{FF2B5EF4-FFF2-40B4-BE49-F238E27FC236}">
                <a16:creationId xmlns:a16="http://schemas.microsoft.com/office/drawing/2014/main" id="{077BACF2-6EC3-A51D-D42D-CE4465B569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868610A-09E7-C998-7D24-07889CB01962}"/>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 surface chart&#10;&#10;Description automatically generated">
            <a:extLst>
              <a:ext uri="{FF2B5EF4-FFF2-40B4-BE49-F238E27FC236}">
                <a16:creationId xmlns:a16="http://schemas.microsoft.com/office/drawing/2014/main" id="{82ADCD02-0AF3-9B83-931B-BDB6BC229B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670"/>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C0DCDD80-354E-8C46-E8A4-FF70BB1ADDD8}"/>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 surface chart&#10;&#10;Description automatically generated">
            <a:extLst>
              <a:ext uri="{FF2B5EF4-FFF2-40B4-BE49-F238E27FC236}">
                <a16:creationId xmlns:a16="http://schemas.microsoft.com/office/drawing/2014/main" id="{C2E20CD4-6EA0-55C7-FA70-DA61D6BD0E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3BA72CEB-6078-AE3D-A6B2-07D8A8FCA58F}"/>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 diagram, schematic, surface chart&#10;&#10;Description automatically generated">
            <a:extLst>
              <a:ext uri="{FF2B5EF4-FFF2-40B4-BE49-F238E27FC236}">
                <a16:creationId xmlns:a16="http://schemas.microsoft.com/office/drawing/2014/main" id="{234E4BD7-B67F-27A4-0322-53AB1E30FE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0208"/>
            <a:ext cx="6404826" cy="4529218"/>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1AC24296-097D-8028-ECA2-14A42745A4A1}"/>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urface chart&#10;&#10;Description automatically generated">
            <a:extLst>
              <a:ext uri="{FF2B5EF4-FFF2-40B4-BE49-F238E27FC236}">
                <a16:creationId xmlns:a16="http://schemas.microsoft.com/office/drawing/2014/main" id="{4FE9CA30-6D4F-2499-B750-C43631B2F2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15917"/>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E1F9FD83-B68B-8B84-8C10-FC5F119DB2F8}"/>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 surface chart&#10;&#10;Description automatically generated">
            <a:extLst>
              <a:ext uri="{FF2B5EF4-FFF2-40B4-BE49-F238E27FC236}">
                <a16:creationId xmlns:a16="http://schemas.microsoft.com/office/drawing/2014/main" id="{996742CD-BF0A-5740-4173-B160B5C61C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881" y="1408701"/>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DBBD572C-BB82-4651-97A7-F0FB7AF6A2C3}"/>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 surface chart&#10;&#10;Description automatically generated">
            <a:extLst>
              <a:ext uri="{FF2B5EF4-FFF2-40B4-BE49-F238E27FC236}">
                <a16:creationId xmlns:a16="http://schemas.microsoft.com/office/drawing/2014/main" id="{A5394083-06C9-4F83-F657-13CDB0824A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8324" y="1418453"/>
            <a:ext cx="6400801"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6BC4BDE8-A704-9C1F-64F6-D7BC949FCE4D}"/>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Surface chart&#10;&#10;Description automatically generated">
            <a:extLst>
              <a:ext uri="{FF2B5EF4-FFF2-40B4-BE49-F238E27FC236}">
                <a16:creationId xmlns:a16="http://schemas.microsoft.com/office/drawing/2014/main" id="{B56923C0-8701-E327-5DC3-6DDA289CD6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52"/>
            <a:ext cx="6400801"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368378D9-1F12-A0B2-FDE3-B1F553F3FE85}"/>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with medium confidence">
            <a:extLst>
              <a:ext uri="{FF2B5EF4-FFF2-40B4-BE49-F238E27FC236}">
                <a16:creationId xmlns:a16="http://schemas.microsoft.com/office/drawing/2014/main" id="{D6CD1F18-0F65-CE51-D3B6-6CAF4CA00B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989"/>
            <a:ext cx="6399482" cy="452544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22CF7C2E-A02F-D466-79A1-63D1C735A944}"/>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with medium confidence">
            <a:extLst>
              <a:ext uri="{FF2B5EF4-FFF2-40B4-BE49-F238E27FC236}">
                <a16:creationId xmlns:a16="http://schemas.microsoft.com/office/drawing/2014/main" id="{27499B6A-F4CF-9C42-A728-34A957736E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5"/>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ECFE0290-3E37-52CD-DAE9-8A973A973FE7}"/>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urface chart&#10;&#10;Description automatically generated">
            <a:extLst>
              <a:ext uri="{FF2B5EF4-FFF2-40B4-BE49-F238E27FC236}">
                <a16:creationId xmlns:a16="http://schemas.microsoft.com/office/drawing/2014/main" id="{171E2B66-D902-5B58-9C92-D1261180D6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3969"/>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D7E87AF4-773F-DBD0-EC15-167FA2E821E3}"/>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Chart, surface chart&#10;&#10;Description automatically generated">
            <a:extLst>
              <a:ext uri="{FF2B5EF4-FFF2-40B4-BE49-F238E27FC236}">
                <a16:creationId xmlns:a16="http://schemas.microsoft.com/office/drawing/2014/main" id="{DA4466E1-F314-756B-994E-1B8589BD2F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176"/>
            <a:ext cx="6411140" cy="4533683"/>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65938829-8B95-0B4B-4A86-63780DA4494D}"/>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Chart, diagram, surface chart&#10;&#10;Description automatically generated">
            <a:extLst>
              <a:ext uri="{FF2B5EF4-FFF2-40B4-BE49-F238E27FC236}">
                <a16:creationId xmlns:a16="http://schemas.microsoft.com/office/drawing/2014/main" id="{0D3C9006-1C39-F95E-7E32-8AB4BBFE97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4099"/>
            <a:ext cx="6400801"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B6E04241-9735-10B1-6C65-CBC093B4B655}"/>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CACE111A-5D38-4A3B-34BC-12A0F8FA9061}"/>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Chart, surface chart&#10;&#10;Description automatically generated">
            <a:extLst>
              <a:ext uri="{FF2B5EF4-FFF2-40B4-BE49-F238E27FC236}">
                <a16:creationId xmlns:a16="http://schemas.microsoft.com/office/drawing/2014/main" id="{CB224DC3-EFB8-64C4-BA3B-8FE48967D8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6640" y="1436916"/>
            <a:ext cx="6372962" cy="4506686"/>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B58CD578-32C1-6B38-5CE4-0F1850CBF3D3}"/>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414B7A3-3452-A1A0-A257-8D374E9F96EC}"/>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B1ED6BD-5337-AD98-3433-5783BFFD329C}"/>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26213" y="2389756"/>
            <a:ext cx="1198148" cy="2407196"/>
            <a:chOff x="10485745" y="2500531"/>
            <a:chExt cx="1198148" cy="2407196"/>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28848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9</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90772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50053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500531"/>
              <a:ext cx="0" cy="78795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81038"/>
              <a:ext cx="0" cy="72668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76257" y="2543875"/>
            <a:ext cx="1198148" cy="2253324"/>
            <a:chOff x="2775759" y="2291483"/>
            <a:chExt cx="1198148" cy="2253324"/>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6399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8</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37046"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914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91483"/>
              <a:ext cx="0" cy="67251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6550"/>
              <a:ext cx="0" cy="6882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74DCA198-52EF-361B-D570-BC0EFDBD179C}"/>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975F84A5-5748-10E1-C643-7C36825B33AA}"/>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425A54A-29C9-1C20-B411-50820B415017}"/>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3D10D65C-F9B3-1932-ADD0-2247F4BA3D23}"/>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4C627FA2-B8C3-62D3-9DCF-0FD9BBED731C}"/>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A7073E4C-AF41-B85B-5CC1-4E09FABD6B5B}"/>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9060F87C-6828-61CC-5564-E8F9F8B9671B}"/>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1C001C8B-1CF7-C8F8-EB83-D72E95F891E9}"/>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63</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38</cp:revision>
  <dcterms:created xsi:type="dcterms:W3CDTF">2022-07-04T13:32:28Z</dcterms:created>
  <dcterms:modified xsi:type="dcterms:W3CDTF">2023-03-11T19:48:17Z</dcterms:modified>
</cp:coreProperties>
</file>